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  <p:sldMasterId id="2147483663" r:id="rId2"/>
  </p:sldMasterIdLst>
  <p:notesMasterIdLst>
    <p:notesMasterId r:id="rId4"/>
  </p:notesMasterIdLst>
  <p:sldIdLst>
    <p:sldId id="25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D5FFF"/>
    <a:srgbClr val="221E28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17C7BE-AE60-4411-B43C-02B07D2D9EED}" v="16" dt="2023-10-30T10:09:11.8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150"/>
    <p:restoredTop sz="95680" autoAdjust="0"/>
  </p:normalViewPr>
  <p:slideViewPr>
    <p:cSldViewPr snapToGrid="0" snapToObjects="1">
      <p:cViewPr varScale="1">
        <p:scale>
          <a:sx n="66" d="100"/>
          <a:sy n="66" d="100"/>
        </p:scale>
        <p:origin x="932" y="32"/>
      </p:cViewPr>
      <p:guideLst/>
    </p:cSldViewPr>
  </p:slideViewPr>
  <p:outlineViewPr>
    <p:cViewPr>
      <p:scale>
        <a:sx n="33" d="100"/>
        <a:sy n="33" d="100"/>
      </p:scale>
      <p:origin x="0" y="-6624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10" Type="http://schemas.microsoft.com/office/2015/10/relationships/revisionInfo" Target="revisionInfo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538FED-BEF8-CD4E-8851-A10E3811CC8B}" type="datetimeFigureOut">
              <a:rPr lang="en-US" smtClean="0"/>
              <a:t>10/3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4C5733-40DC-BA48-B475-D2F3167E47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1428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4C5733-40DC-BA48-B475-D2F3167E474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578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ck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16F4F5CD-5406-1845-B09E-11A9B1A6CE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0000" y="3780000"/>
            <a:ext cx="6120000" cy="720000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Optional deck 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A76210-904A-B94F-AD88-9CCF2599AD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34136" y="719999"/>
            <a:ext cx="7937863" cy="61380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1991477-4426-5446-B609-E5D0C97CDA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000" y="719998"/>
            <a:ext cx="1173913" cy="1080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B6175EB-19B6-C748-BC0B-4822B00939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000" y="1800000"/>
            <a:ext cx="6120000" cy="1800000"/>
          </a:xfrm>
        </p:spPr>
        <p:txBody>
          <a:bodyPr anchor="b"/>
          <a:lstStyle>
            <a:lvl1pPr algn="l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eck title (keep it short)</a:t>
            </a:r>
          </a:p>
        </p:txBody>
      </p:sp>
    </p:spTree>
    <p:extLst>
      <p:ext uri="{BB962C8B-B14F-4D97-AF65-F5344CB8AC3E}">
        <p14:creationId xmlns:p14="http://schemas.microsoft.com/office/powerpoint/2010/main" val="40308034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D817E5-E8F3-FB4B-AA71-42628C9615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972389-3FBB-954F-B56A-BDA92EB8B54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60000" y="1080000"/>
            <a:ext cx="5400000" cy="4860000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4A40A1BD-DDB1-EA42-A68E-8CBAA9AA4EE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5999" y="3429000"/>
            <a:ext cx="6095999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DC9065-5CA0-F442-A2A9-80F9DF6DB3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B8F397-1DE7-5646-ADFB-42572393AD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945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89ED947-9446-A640-9179-3DB09A4E8B58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2002" y="3500438"/>
            <a:ext cx="4320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872C97-6E3B-CA43-91B5-90C7E0B00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44032B7-8F95-7942-8129-183B5BE2DF66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612002" y="4040438"/>
            <a:ext cx="4320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12707A-F24B-174B-818C-61D6BF78FF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2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CCCF501-FDC3-4341-B383-C2BE986274D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260000" y="3500438"/>
            <a:ext cx="4320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D7F7907-E1A0-0D40-9A8D-7175CF5E8A16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260000" y="4040438"/>
            <a:ext cx="4320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A813520D-1E09-2849-B013-C7CABAFC38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05533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0F1024-A0B0-5A48-AD0F-C607E67B6CB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20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89ED947-9446-A640-9179-3DB09A4E8B58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4296000" y="3500438"/>
            <a:ext cx="3600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872C97-6E3B-CA43-91B5-90C7E0B00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44032B7-8F95-7942-8129-183B5BE2DF66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296000" y="4040438"/>
            <a:ext cx="3600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12707A-F24B-174B-818C-61D6BF78FF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76000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CCCF501-FDC3-4341-B383-C2BE986274D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60000" y="3500438"/>
            <a:ext cx="3600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D7F7907-E1A0-0D40-9A8D-7175CF5E8A16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60000" y="4040438"/>
            <a:ext cx="3600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A813520D-1E09-2849-B013-C7CABAFC38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40000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12F093D-0114-1B40-A555-E61229481539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213941" y="3500438"/>
            <a:ext cx="3600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B307D3E-F862-E445-A818-E6B8B1537F3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213941" y="4040438"/>
            <a:ext cx="3600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A4C23BE8-B71F-6A47-B4AE-F1E494DBB71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93941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3E2877-5923-2D4F-A10A-13BB8D8B31E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34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872C97-6E3B-CA43-91B5-90C7E0B00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CCCF501-FDC3-4341-B383-C2BE986274D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60000" y="3501858"/>
            <a:ext cx="2376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D7F7907-E1A0-0D40-9A8D-7175CF5E8A16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60000" y="4041858"/>
            <a:ext cx="2376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A813520D-1E09-2849-B013-C7CABAFC38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8000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9E00F8D-85C1-1840-8752-47A8B60D31E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437940" y="3500438"/>
            <a:ext cx="2376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F5D9CBE-4AEA-C743-94CE-1E813C93730D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9437940" y="4040438"/>
            <a:ext cx="2376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9C47317C-25E2-074D-9F50-5CA73A67BB2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905940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907E2C0-3E03-1745-AA6D-BEEBA9234F73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3385980" y="3500438"/>
            <a:ext cx="2376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3FBDE84B-AB5D-5F48-BC67-32C65E5D255C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385980" y="4040438"/>
            <a:ext cx="2376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7FA7E87E-7496-5F4B-BF76-495359E53DC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853980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E36CE0B-10D8-3547-8BD2-7BC4914C7953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6400000" y="3500438"/>
            <a:ext cx="2376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8A029C00-EFA4-5D44-85AD-B5454518574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6390463" y="4040438"/>
            <a:ext cx="2376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A643B449-D2DF-5446-A824-A8AFD30AC74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868000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597E6A-908B-5540-8DD7-E0C96D4AD80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7806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91119D-145C-FC40-BAD3-A9EED90FCA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C7E48B-648A-0547-9AE1-CAB6532A31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4FE135-4D8C-A048-8366-10910D2505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879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2282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c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175EB-19B6-C748-BC0B-4822B00939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000" y="1800000"/>
            <a:ext cx="6120000" cy="18000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ck title (keep it short)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F4F5CD-5406-1845-B09E-11A9B1A6CE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0000" y="3780000"/>
            <a:ext cx="6120000" cy="720000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Optional deck 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171426-E5D6-FC44-93C7-A6D77678A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34136" y="719999"/>
            <a:ext cx="7937863" cy="613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55F25DA-4F7F-EC4F-8582-7F904B3A934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20001" y="719998"/>
            <a:ext cx="1173911" cy="107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342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175EB-19B6-C748-BC0B-4822B00939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000" y="1800000"/>
            <a:ext cx="6120000" cy="1800000"/>
          </a:xfrm>
        </p:spPr>
        <p:txBody>
          <a:bodyPr anchor="b"/>
          <a:lstStyle>
            <a:lvl1pPr algn="l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ection title (keep it short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F4F5CD-5406-1845-B09E-11A9B1A6CE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0000" y="3779999"/>
            <a:ext cx="6120000" cy="720000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Optional section sub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CD1F6F6-3C6B-6F4A-B043-F8D7924B0EE6}"/>
              </a:ext>
            </a:extLst>
          </p:cNvPr>
          <p:cNvGrpSpPr/>
          <p:nvPr userDrawn="1"/>
        </p:nvGrpSpPr>
        <p:grpSpPr>
          <a:xfrm>
            <a:off x="0" y="633352"/>
            <a:ext cx="10978510" cy="6224648"/>
            <a:chOff x="0" y="1800000"/>
            <a:chExt cx="10978510" cy="6224648"/>
          </a:xfrm>
        </p:grpSpPr>
        <p:sp>
          <p:nvSpPr>
            <p:cNvPr id="8" name="Teardrop 7">
              <a:extLst>
                <a:ext uri="{FF2B5EF4-FFF2-40B4-BE49-F238E27FC236}">
                  <a16:creationId xmlns:a16="http://schemas.microsoft.com/office/drawing/2014/main" id="{53CB356F-94EC-E44D-9D61-41AEA97044F2}"/>
                </a:ext>
              </a:extLst>
            </p:cNvPr>
            <p:cNvSpPr/>
            <p:nvPr userDrawn="1"/>
          </p:nvSpPr>
          <p:spPr>
            <a:xfrm rot="10800000">
              <a:off x="7920000" y="1800000"/>
              <a:ext cx="3058510" cy="3058510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3A153EA-CD80-D14A-BBF4-0B504FB68F7C}"/>
                </a:ext>
              </a:extLst>
            </p:cNvPr>
            <p:cNvCxnSpPr>
              <a:stCxn id="8" idx="7"/>
            </p:cNvCxnSpPr>
            <p:nvPr userDrawn="1"/>
          </p:nvCxnSpPr>
          <p:spPr>
            <a:xfrm flipH="1">
              <a:off x="0" y="4858510"/>
              <a:ext cx="7920000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6A5332C-5D0C-9A4B-848D-6A8BBF80A288}"/>
                </a:ext>
              </a:extLst>
            </p:cNvPr>
            <p:cNvCxnSpPr>
              <a:cxnSpLocks/>
              <a:stCxn id="8" idx="7"/>
            </p:cNvCxnSpPr>
            <p:nvPr userDrawn="1"/>
          </p:nvCxnSpPr>
          <p:spPr>
            <a:xfrm>
              <a:off x="7920000" y="4858510"/>
              <a:ext cx="0" cy="3166138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490864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s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D9C76E-FBA1-D844-9D70-22C73009DB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94EF56-FAF0-FF4C-AAFF-2DCB5A93FF2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4829948"/>
            <a:ext cx="5736000" cy="2028052"/>
          </a:xfrm>
          <a:solidFill>
            <a:srgbClr val="FFFFFF"/>
          </a:solidFill>
        </p:spPr>
        <p:txBody>
          <a:bodyPr wrap="square" lIns="180000" tIns="180000" rIns="180000" bIns="827999" anchor="b">
            <a:spAutoFit/>
          </a:bodyPr>
          <a:lstStyle>
            <a:lvl1pPr marL="342900" indent="-342900">
              <a:buFont typeface="+mj-lt"/>
              <a:buAutoNum type="arabicPeriod"/>
              <a:defRPr lang="en-US" sz="2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>
                <a:solidFill>
                  <a:schemeClr val="accent6"/>
                </a:solidFill>
              </a:defRPr>
            </a:lvl2pPr>
            <a:lvl3pPr marL="914400" indent="0">
              <a:buNone/>
              <a:defRPr sz="2400" b="1">
                <a:solidFill>
                  <a:schemeClr val="accent6"/>
                </a:solidFill>
              </a:defRPr>
            </a:lvl3pPr>
            <a:lvl4pPr marL="1371600" indent="0">
              <a:buNone/>
              <a:defRPr sz="2400" b="1">
                <a:solidFill>
                  <a:schemeClr val="accent6"/>
                </a:solidFill>
              </a:defRPr>
            </a:lvl4pPr>
            <a:lvl5pPr marL="1828800" indent="0">
              <a:buNone/>
              <a:defRPr sz="2400" b="1">
                <a:solidFill>
                  <a:schemeClr val="accent6"/>
                </a:solidFill>
              </a:defRPr>
            </a:lvl5pPr>
          </a:lstStyle>
          <a:p>
            <a:pPr marL="342900" lvl="0" indent="-3429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Click to add agenda item</a:t>
            </a:r>
          </a:p>
          <a:p>
            <a:pPr marL="342900" lvl="0" indent="-3429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The box resizes automatically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C627C6-6D10-1E4D-81DB-1D71C34936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210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D9C76E-FBA1-D844-9D70-22C73009DB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94EF56-FAF0-FF4C-AAFF-2DCB5A93FF24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2D210F-E3CD-0942-9C83-4DCC96371F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C627C6-6D10-1E4D-81DB-1D71C34936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4323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175EB-19B6-C748-BC0B-4822B00939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000" y="1800000"/>
            <a:ext cx="6120000" cy="1800000"/>
          </a:xfrm>
        </p:spPr>
        <p:txBody>
          <a:bodyPr anchor="b"/>
          <a:lstStyle>
            <a:lvl1pPr algn="l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ection title (keep it short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F4F5CD-5406-1845-B09E-11A9B1A6CE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0000" y="3779999"/>
            <a:ext cx="6120000" cy="720000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Optional section sub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CD1F6F6-3C6B-6F4A-B043-F8D7924B0EE6}"/>
              </a:ext>
            </a:extLst>
          </p:cNvPr>
          <p:cNvGrpSpPr/>
          <p:nvPr userDrawn="1"/>
        </p:nvGrpSpPr>
        <p:grpSpPr>
          <a:xfrm>
            <a:off x="0" y="633352"/>
            <a:ext cx="10978510" cy="6224648"/>
            <a:chOff x="0" y="1800000"/>
            <a:chExt cx="10978510" cy="6224648"/>
          </a:xfrm>
        </p:grpSpPr>
        <p:sp>
          <p:nvSpPr>
            <p:cNvPr id="8" name="Teardrop 7">
              <a:extLst>
                <a:ext uri="{FF2B5EF4-FFF2-40B4-BE49-F238E27FC236}">
                  <a16:creationId xmlns:a16="http://schemas.microsoft.com/office/drawing/2014/main" id="{53CB356F-94EC-E44D-9D61-41AEA97044F2}"/>
                </a:ext>
              </a:extLst>
            </p:cNvPr>
            <p:cNvSpPr/>
            <p:nvPr userDrawn="1"/>
          </p:nvSpPr>
          <p:spPr>
            <a:xfrm rot="10800000">
              <a:off x="7920000" y="1800000"/>
              <a:ext cx="3058510" cy="3058510"/>
            </a:xfrm>
            <a:prstGeom prst="teardrop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3A153EA-CD80-D14A-BBF4-0B504FB68F7C}"/>
                </a:ext>
              </a:extLst>
            </p:cNvPr>
            <p:cNvCxnSpPr>
              <a:stCxn id="8" idx="7"/>
            </p:cNvCxnSpPr>
            <p:nvPr userDrawn="1"/>
          </p:nvCxnSpPr>
          <p:spPr>
            <a:xfrm flipH="1">
              <a:off x="0" y="4858510"/>
              <a:ext cx="7920000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6A5332C-5D0C-9A4B-848D-6A8BBF80A288}"/>
                </a:ext>
              </a:extLst>
            </p:cNvPr>
            <p:cNvCxnSpPr>
              <a:cxnSpLocks/>
              <a:stCxn id="8" idx="7"/>
            </p:cNvCxnSpPr>
            <p:nvPr userDrawn="1"/>
          </p:nvCxnSpPr>
          <p:spPr>
            <a:xfrm>
              <a:off x="7920000" y="4858510"/>
              <a:ext cx="0" cy="3166138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55403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972389-3FBB-954F-B56A-BDA92EB8B54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60000" y="1080000"/>
            <a:ext cx="55512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FE1672-B88F-A541-8872-4A582F5FB3A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62741" y="1080000"/>
            <a:ext cx="55512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250D62-53D1-2647-895A-B1AF7DABD2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AEF4C5-664A-C042-B7CF-26B0ADDF522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4448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972389-3FBB-954F-B56A-BDA92EB8B54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60000" y="1080000"/>
            <a:ext cx="36000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FE1672-B88F-A541-8872-4A582F5FB3A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296000" y="1080000"/>
            <a:ext cx="36000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250D62-53D1-2647-895A-B1AF7DABD2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4DAD076-9B58-C944-BFD9-70E7E1E9D4C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8213941" y="1080000"/>
            <a:ext cx="36000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FBC98A-FC60-0C4C-91AC-91F4B00AC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1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972389-3FBB-954F-B56A-BDA92EB8B54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60000" y="1080000"/>
            <a:ext cx="25200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FE1672-B88F-A541-8872-4A582F5FB3A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37980" y="1080000"/>
            <a:ext cx="25200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250D62-53D1-2647-895A-B1AF7DABD2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4DAD076-9B58-C944-BFD9-70E7E1E9D4C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9293941" y="1080000"/>
            <a:ext cx="25200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AAF2F08-3BDF-8F44-AF6E-2D3ED01EC97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315960" y="1080000"/>
            <a:ext cx="25200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4EF96F-53EE-534E-9D14-15A87D35537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501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 2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973643D-3316-B64C-BC3C-A80CFD6316A8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972389-3FBB-954F-B56A-BDA92EB8B54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60000" y="1080000"/>
            <a:ext cx="5551200" cy="4860000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FE1672-B88F-A541-8872-4A582F5FB3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2741" y="1080000"/>
            <a:ext cx="5551200" cy="48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8123EC-B3D8-6545-96B5-F457D2C17E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7054D75-40FB-3E46-AE9E-FE48A2EA3A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27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D817E5-E8F3-FB4B-AA71-42628C9615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972389-3FBB-954F-B56A-BDA92EB8B54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60000" y="1080000"/>
            <a:ext cx="5400000" cy="4860000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9FADB0-BC0B-FA45-BCBD-98B1B22B45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23672-8414-2C42-BB99-EAB7186AB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540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D817E5-E8F3-FB4B-AA71-42628C9615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972389-3FBB-954F-B56A-BDA92EB8B54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60000" y="1080000"/>
            <a:ext cx="5400000" cy="4860000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4A40A1BD-DDB1-EA42-A68E-8CBAA9AA4EE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5999" y="3429000"/>
            <a:ext cx="6095999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DC9065-5CA0-F442-A2A9-80F9DF6DB3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B8F397-1DE7-5646-ADFB-42572393AD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423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89ED947-9446-A640-9179-3DB09A4E8B58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2002" y="3500438"/>
            <a:ext cx="4320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872C97-6E3B-CA43-91B5-90C7E0B00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44032B7-8F95-7942-8129-183B5BE2DF66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612002" y="4040438"/>
            <a:ext cx="4320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12707A-F24B-174B-818C-61D6BF78FF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2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CCCF501-FDC3-4341-B383-C2BE986274D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260000" y="3500438"/>
            <a:ext cx="4320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D7F7907-E1A0-0D40-9A8D-7175CF5E8A16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260000" y="4040438"/>
            <a:ext cx="4320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A813520D-1E09-2849-B013-C7CABAFC38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05533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0F1024-A0B0-5A48-AD0F-C607E67B6CB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898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89ED947-9446-A640-9179-3DB09A4E8B58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4296000" y="3500438"/>
            <a:ext cx="3600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872C97-6E3B-CA43-91B5-90C7E0B00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44032B7-8F95-7942-8129-183B5BE2DF66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296000" y="4040438"/>
            <a:ext cx="3600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12707A-F24B-174B-818C-61D6BF78FF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76000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CCCF501-FDC3-4341-B383-C2BE986274D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60000" y="3500438"/>
            <a:ext cx="3600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D7F7907-E1A0-0D40-9A8D-7175CF5E8A16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60000" y="4040438"/>
            <a:ext cx="3600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A813520D-1E09-2849-B013-C7CABAFC38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40000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12F093D-0114-1B40-A555-E61229481539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213941" y="3500438"/>
            <a:ext cx="3600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B307D3E-F862-E445-A818-E6B8B1537F3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213941" y="4040438"/>
            <a:ext cx="3600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A4C23BE8-B71F-6A47-B4AE-F1E494DBB71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93941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3E2877-5923-2D4F-A10A-13BB8D8B31E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17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872C97-6E3B-CA43-91B5-90C7E0B00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CCCF501-FDC3-4341-B383-C2BE986274D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60000" y="3501858"/>
            <a:ext cx="2376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D7F7907-E1A0-0D40-9A8D-7175CF5E8A16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60000" y="4041858"/>
            <a:ext cx="2376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A813520D-1E09-2849-B013-C7CABAFC38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8000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9E00F8D-85C1-1840-8752-47A8B60D31E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437940" y="3500438"/>
            <a:ext cx="2376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F5D9CBE-4AEA-C743-94CE-1E813C93730D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9437940" y="4040438"/>
            <a:ext cx="2376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9C47317C-25E2-074D-9F50-5CA73A67BB2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905940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907E2C0-3E03-1745-AA6D-BEEBA9234F73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3385980" y="3500438"/>
            <a:ext cx="2376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3FBDE84B-AB5D-5F48-BC67-32C65E5D255C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385980" y="4040438"/>
            <a:ext cx="2376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7FA7E87E-7496-5F4B-BF76-495359E53DC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853980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E36CE0B-10D8-3547-8BD2-7BC4914C7953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6400000" y="3500438"/>
            <a:ext cx="2376000" cy="540000"/>
          </a:xfrm>
        </p:spPr>
        <p:txBody>
          <a:bodyPr wrap="square" anchor="ctr">
            <a:normAutofit/>
          </a:bodyPr>
          <a:lstStyle>
            <a:lvl1pPr marL="0" indent="0" algn="ctr">
              <a:buNone/>
              <a:defRPr sz="2000" b="1"/>
            </a:lvl1pPr>
            <a:lvl2pPr marL="457200" indent="0" algn="ctr">
              <a:buNone/>
              <a:defRPr sz="2000" b="1"/>
            </a:lvl2pPr>
            <a:lvl3pPr marL="914400" indent="0" algn="ctr">
              <a:buNone/>
              <a:defRPr sz="2000" b="1"/>
            </a:lvl3pPr>
            <a:lvl4pPr marL="1371600" indent="0" algn="ctr">
              <a:buNone/>
              <a:defRPr sz="2000" b="1"/>
            </a:lvl4pPr>
            <a:lvl5pPr marL="1828800" indent="0" algn="ctr">
              <a:buNone/>
              <a:defRPr sz="2000" b="1"/>
            </a:lvl5pPr>
          </a:lstStyle>
          <a:p>
            <a:pPr lvl="0"/>
            <a:r>
              <a:rPr lang="en-US" dirty="0"/>
              <a:t>Feature titl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8A029C00-EFA4-5D44-85AD-B5454518574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6390463" y="4040438"/>
            <a:ext cx="2376000" cy="1898400"/>
          </a:xfrm>
        </p:spPr>
        <p:txBody>
          <a:bodyPr wrap="square">
            <a:normAutofit/>
          </a:bodyPr>
          <a:lstStyle>
            <a:lvl1pPr marL="0" indent="0" algn="ctr">
              <a:buNone/>
              <a:defRPr lang="en-US" dirty="0"/>
            </a:lvl1pPr>
            <a:lvl2pPr marL="457200" indent="0" algn="ctr">
              <a:buNone/>
              <a:defRPr sz="1200" b="0"/>
            </a:lvl2pPr>
            <a:lvl3pPr marL="914400" indent="0" algn="ctr">
              <a:buNone/>
              <a:defRPr sz="1200" b="0"/>
            </a:lvl3pPr>
            <a:lvl4pPr marL="1371600" indent="0" algn="ctr">
              <a:buNone/>
              <a:defRPr sz="1200" b="0"/>
            </a:lvl4pPr>
            <a:lvl5pPr marL="1828800" indent="0" algn="ctr">
              <a:buNone/>
              <a:defRPr sz="1200" b="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A643B449-D2DF-5446-A824-A8AFD30AC74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868000" y="1800000"/>
            <a:ext cx="1440000" cy="14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597E6A-908B-5540-8DD7-E0C96D4AD80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03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D2541E-7212-6749-A843-7B8BFD0B4E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9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AB78EF0-5AA1-DC41-A587-B1A95A85AB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DDCDE9E-E087-524C-8D2D-B8F820792D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6138000"/>
            <a:ext cx="10080000" cy="536069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</a:lstStyle>
          <a:p>
            <a:pPr lvl="0"/>
            <a:r>
              <a:rPr lang="en-US" dirty="0"/>
              <a:t>Single line cap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D0126C-8D87-8A4C-BC63-C38474B2CE6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42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D9C76E-FBA1-D844-9D70-22C73009DB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94EF56-FAF0-FF4C-AAFF-2DCB5A93FF2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4829948"/>
            <a:ext cx="5736000" cy="2028052"/>
          </a:xfrm>
          <a:solidFill>
            <a:srgbClr val="FFFFFF"/>
          </a:solidFill>
        </p:spPr>
        <p:txBody>
          <a:bodyPr wrap="square" lIns="180000" tIns="180000" rIns="180000" bIns="827999" anchor="b">
            <a:spAutoFit/>
          </a:bodyPr>
          <a:lstStyle>
            <a:lvl1pPr marL="342900" indent="-342900">
              <a:buFont typeface="+mj-lt"/>
              <a:buAutoNum type="arabicPeriod"/>
              <a:defRPr lang="en-US" sz="24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>
                <a:solidFill>
                  <a:schemeClr val="accent6"/>
                </a:solidFill>
              </a:defRPr>
            </a:lvl2pPr>
            <a:lvl3pPr marL="914400" indent="0">
              <a:buNone/>
              <a:defRPr sz="2400" b="1">
                <a:solidFill>
                  <a:schemeClr val="accent6"/>
                </a:solidFill>
              </a:defRPr>
            </a:lvl3pPr>
            <a:lvl4pPr marL="1371600" indent="0">
              <a:buNone/>
              <a:defRPr sz="2400" b="1">
                <a:solidFill>
                  <a:schemeClr val="accent6"/>
                </a:solidFill>
              </a:defRPr>
            </a:lvl4pPr>
            <a:lvl5pPr marL="1828800" indent="0">
              <a:buNone/>
              <a:defRPr sz="2400" b="1">
                <a:solidFill>
                  <a:schemeClr val="accent6"/>
                </a:solidFill>
              </a:defRPr>
            </a:lvl5pPr>
          </a:lstStyle>
          <a:p>
            <a:pPr marL="342900" lvl="0" indent="-3429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Click to add agenda item</a:t>
            </a:r>
          </a:p>
          <a:p>
            <a:pPr marL="342900" lvl="0" indent="-3429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The box resizes automatically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C627C6-6D10-1E4D-81DB-1D71C34936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176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91119D-145C-FC40-BAD3-A9EED90FCA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C7E48B-648A-0547-9AE1-CAB6532A31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4FE135-4D8C-A048-8366-10910D2505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792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D9C76E-FBA1-D844-9D70-22C73009DB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94EF56-FAF0-FF4C-AAFF-2DCB5A93FF2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4775422"/>
            <a:ext cx="5736000" cy="2082578"/>
          </a:xfrm>
          <a:solidFill>
            <a:srgbClr val="FFFFFF"/>
          </a:solidFill>
        </p:spPr>
        <p:txBody>
          <a:bodyPr wrap="square" lIns="180000" tIns="180000" rIns="180000" bIns="917999" anchor="b">
            <a:spAutoFit/>
          </a:bodyPr>
          <a:lstStyle>
            <a:lvl1pPr marL="342900" indent="-342900">
              <a:buFont typeface="+mj-lt"/>
              <a:buAutoNum type="arabicPeriod"/>
              <a:defRPr lang="en-US" sz="2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 b="1">
                <a:solidFill>
                  <a:schemeClr val="accent6"/>
                </a:solidFill>
              </a:defRPr>
            </a:lvl2pPr>
            <a:lvl3pPr marL="914400" indent="0">
              <a:buNone/>
              <a:defRPr sz="2400" b="1">
                <a:solidFill>
                  <a:schemeClr val="accent6"/>
                </a:solidFill>
              </a:defRPr>
            </a:lvl3pPr>
            <a:lvl4pPr marL="1371600" indent="0">
              <a:buNone/>
              <a:defRPr sz="2400" b="1">
                <a:solidFill>
                  <a:schemeClr val="accent6"/>
                </a:solidFill>
              </a:defRPr>
            </a:lvl4pPr>
            <a:lvl5pPr marL="1828800" indent="0">
              <a:buNone/>
              <a:defRPr sz="2400" b="1">
                <a:solidFill>
                  <a:schemeClr val="accent6"/>
                </a:solidFill>
              </a:defRPr>
            </a:lvl5pPr>
          </a:lstStyle>
          <a:p>
            <a:pPr marL="342900" lvl="0" indent="-3429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Click to add agenda item</a:t>
            </a:r>
          </a:p>
          <a:p>
            <a:pPr marL="342900" lvl="0" indent="-3429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The box resizes automatically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C627C6-6D10-1E4D-81DB-1D71C34936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07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D9C76E-FBA1-D844-9D70-22C73009DB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94EF56-FAF0-FF4C-AAFF-2DCB5A93FF24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2D210F-E3CD-0942-9C83-4DCC96371F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C627C6-6D10-1E4D-81DB-1D71C34936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4323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D2541E-7212-6749-A843-7B8BFD0B4E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A1EE1A-535D-3543-A988-0C5933B5C6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4B44DB-FADF-D74E-804C-CF8C1D48D4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29309D-5D30-A64E-94AB-C72A3FEA9BDE}" type="slidenum">
              <a:rPr lang="en-US" smtClean="0"/>
              <a:pPr/>
              <a:t>‹#›</a:t>
            </a:fld>
            <a:r>
              <a:rPr lang="en-US" dirty="0"/>
              <a:t> 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0191886-B888-C649-B795-2480974CD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1225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D2541E-7212-6749-A843-7B8BFD0B4E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9483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AB78EF0-5AA1-DC41-A587-B1A95A85AB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DDCDE9E-E087-524C-8D2D-B8F820792D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6138000"/>
            <a:ext cx="10080000" cy="536069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</a:lstStyle>
          <a:p>
            <a:pPr lvl="0"/>
            <a:r>
              <a:rPr lang="en-US" dirty="0"/>
              <a:t>Single line captio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0957D06-4488-A04D-B470-7687930A7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D0126C-8D87-8A4C-BC63-C38474B2CE6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42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Giant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D2541E-7212-6749-A843-7B8BFD0B4E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AB78EF0-5AA1-DC41-A587-B1A95A85AB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0957D06-4488-A04D-B470-7687930A7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1989000"/>
            <a:ext cx="11453941" cy="2880000"/>
          </a:xfrm>
        </p:spPr>
        <p:txBody>
          <a:bodyPr anchor="ctr">
            <a:normAutofit/>
          </a:bodyPr>
          <a:lstStyle>
            <a:lvl1pPr>
              <a:defRPr sz="9600">
                <a:solidFill>
                  <a:schemeClr val="tx1"/>
                </a:solidFill>
                <a:effectLst>
                  <a:outerShdw blurRad="812800" dir="5400000" algn="t" rotWithShape="0">
                    <a:schemeClr val="bg1">
                      <a:alpha val="20000"/>
                    </a:schemeClr>
                  </a:outerShdw>
                </a:effectLst>
              </a:defRPr>
            </a:lvl1pPr>
          </a:lstStyle>
          <a:p>
            <a:r>
              <a:rPr lang="en-US" dirty="0"/>
              <a:t>Slide title</a:t>
            </a:r>
            <a:br>
              <a:rPr lang="en-US" dirty="0"/>
            </a:br>
            <a:r>
              <a:rPr lang="en-US" dirty="0"/>
              <a:t>(keep it short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D0126C-8D87-8A4C-BC63-C38474B2CE6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84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D2541E-7212-6749-A843-7B8BFD0B4E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112B33AE-163F-9545-8A11-4AEC4EED00C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4E029E-7F98-EC48-8DC9-0B5FBB0CCA6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8A0B2C-14F4-4341-B2A3-AD6A50DD40F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B29309D-5D30-A64E-94AB-C72A3FEA9BDE}" type="slidenum">
              <a:rPr lang="en-US" smtClean="0"/>
              <a:pPr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5274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D2541E-7212-6749-A843-7B8BFD0B4E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064399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112B33AE-163F-9545-8A11-4AEC4EED00C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3801" y="0"/>
            <a:ext cx="4064399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6FAF2BB-0279-5247-90D9-CD39877BDF9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7601" y="0"/>
            <a:ext cx="4064399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DEC9B2D-4C85-4D41-8539-E2233623AE8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726CAC3-9701-4241-833A-B547E829B1C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B29309D-5D30-A64E-94AB-C72A3FEA9BDE}" type="slidenum">
              <a:rPr lang="en-US" smtClean="0"/>
              <a:pPr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41193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AECCF376-9F13-8247-A67F-E6F00182E7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429000"/>
            <a:ext cx="6096000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02FC332F-FB88-AF4A-870D-1CF6269E05E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429000"/>
            <a:ext cx="6096000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D2541E-7212-6749-A843-7B8BFD0B4E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112B33AE-163F-9545-8A11-4AEC4EED00C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472C3F3-C330-284E-94DA-0D577DD0AD1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C497AB-41AB-7648-9CDB-903C6AD116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B29309D-5D30-A64E-94AB-C72A3FEA9BDE}" type="slidenum">
              <a:rPr lang="en-US" smtClean="0"/>
              <a:pPr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39690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7E6DFB6-219E-534C-BD8C-ED24463D883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7601" y="3429000"/>
            <a:ext cx="4064399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9E68EB46-53D5-4D42-AEEB-8A743AEF57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429000"/>
            <a:ext cx="4064399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D2541E-7212-6749-A843-7B8BFD0B4E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112B33AE-163F-9545-8A11-4AEC4EED00C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3FF54003-1852-B642-857C-9ED4EC66D21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3801" y="3429000"/>
            <a:ext cx="4064399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FC8DAA4-3E05-A74D-88BC-0C3B9539D75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0A02DE2-FC03-7D4A-9601-150DF9EC446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B29309D-5D30-A64E-94AB-C72A3FEA9BDE}" type="slidenum">
              <a:rPr lang="en-US" smtClean="0"/>
              <a:pPr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1678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D9C76E-FBA1-D844-9D70-22C73009DB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94EF56-FAF0-FF4C-AAFF-2DCB5A93FF24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2D210F-E3CD-0942-9C83-4DCC96371F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C627C6-6D10-1E4D-81DB-1D71C34936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1227140" y="6138000"/>
            <a:ext cx="586800" cy="540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212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74A10641-B884-9145-9E92-1CE15E2063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429000"/>
            <a:ext cx="4064399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D2541E-7212-6749-A843-7B8BFD0B4E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064399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112B33AE-163F-9545-8A11-4AEC4EED00C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3801" y="0"/>
            <a:ext cx="4064399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6FAF2BB-0279-5247-90D9-CD39877BDF9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7601" y="0"/>
            <a:ext cx="4064399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347AAE22-99D7-2A4D-9FC1-B9B6DCD8B7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3801" y="3429000"/>
            <a:ext cx="4064399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286E63F-9034-2944-959C-68E2EC278F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7601" y="3429000"/>
            <a:ext cx="4064399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AA245D9-94C6-8044-A71D-36A7DB94433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36BA67C-5E6A-2942-A900-F70551625C3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B29309D-5D30-A64E-94AB-C72A3FEA9BDE}" type="slidenum">
              <a:rPr lang="en-US" smtClean="0"/>
              <a:pPr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87587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02FC332F-FB88-AF4A-870D-1CF6269E05E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429000"/>
            <a:ext cx="3045600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4C3976F3-1083-5940-916E-89D08E6D01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36800" y="3429000"/>
            <a:ext cx="3045600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AECCF376-9F13-8247-A67F-E6F00182E7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45600" y="3429000"/>
            <a:ext cx="3045600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D2541E-7212-6749-A843-7B8BFD0B4E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045600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112B33AE-163F-9545-8A11-4AEC4EED00C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45600" y="0"/>
            <a:ext cx="3045600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89A1D13B-FE3E-714F-AA0D-1831F38EDA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1200" y="3429000"/>
            <a:ext cx="3045600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1869F471-6645-2642-9382-E9AEDCC7BED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1200" y="0"/>
            <a:ext cx="3045600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C31D2373-3B8F-1F49-9717-7209D4D49F1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36800" y="0"/>
            <a:ext cx="3045600" cy="3429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B3D4A99-3C1F-FF42-8655-AA18163A504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118B4-BE7C-4542-94C1-A8EE2A791F4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B29309D-5D30-A64E-94AB-C72A3FEA9BDE}" type="slidenum">
              <a:rPr lang="en-US" smtClean="0"/>
              <a:pPr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452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91119D-145C-FC40-BAD3-A9EED90FCA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C7E48B-648A-0547-9AE1-CAB6532A31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4FE135-4D8C-A048-8366-10910D2505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792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6086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972389-3FBB-954F-B56A-BDA92EB8B54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60000" y="1080000"/>
            <a:ext cx="55512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FE1672-B88F-A541-8872-4A582F5FB3A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62741" y="1080000"/>
            <a:ext cx="55512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250D62-53D1-2647-895A-B1AF7DABD2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AEF4C5-664A-C042-B7CF-26B0ADDF522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19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972389-3FBB-954F-B56A-BDA92EB8B54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60000" y="1080000"/>
            <a:ext cx="36000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FE1672-B88F-A541-8872-4A582F5FB3A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296000" y="1080000"/>
            <a:ext cx="36000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250D62-53D1-2647-895A-B1AF7DABD2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4DAD076-9B58-C944-BFD9-70E7E1E9D4C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8213941" y="1080000"/>
            <a:ext cx="36000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FBC98A-FC60-0C4C-91AC-91F4B00AC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70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972389-3FBB-954F-B56A-BDA92EB8B54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60000" y="1080000"/>
            <a:ext cx="25200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FE1672-B88F-A541-8872-4A582F5FB3A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37980" y="1080000"/>
            <a:ext cx="25200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250D62-53D1-2647-895A-B1AF7DABD2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4DAD076-9B58-C944-BFD9-70E7E1E9D4C5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9293941" y="1080000"/>
            <a:ext cx="25200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AAF2F08-3BDF-8F44-AF6E-2D3ED01EC97A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315960" y="1080000"/>
            <a:ext cx="2520000" cy="4860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4EF96F-53EE-534E-9D14-15A87D35537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681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 2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973643D-3316-B64C-BC3C-A80CFD6316A8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972389-3FBB-954F-B56A-BDA92EB8B54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60000" y="1080000"/>
            <a:ext cx="5551200" cy="4860000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FE1672-B88F-A541-8872-4A582F5FB3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2741" y="1080000"/>
            <a:ext cx="5551200" cy="48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8123EC-B3D8-6545-96B5-F457D2C17E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7054D75-40FB-3E46-AE9E-FE48A2EA3A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760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D817E5-E8F3-FB4B-AA71-42628C9615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005F79-11B2-7348-BA3A-122CB47D2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0"/>
            <a:ext cx="11453941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 (keep it shor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972389-3FBB-954F-B56A-BDA92EB8B54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60000" y="1080000"/>
            <a:ext cx="5400000" cy="4860000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9FADB0-BC0B-FA45-BCBD-98B1B22B45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23672-8414-2C42-BB99-EAB7186AB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66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6AE0CE-C20A-654D-A555-57C09CED0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11453940" cy="36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slid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572CFA-87A2-E548-B799-EAD535221C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079999"/>
            <a:ext cx="11453941" cy="48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88EFD5A-ADCB-E146-BABF-BD92F0DD1F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27140" y="6138000"/>
            <a:ext cx="586800" cy="540000"/>
          </a:xfrm>
          <a:prstGeom prst="rect">
            <a:avLst/>
          </a:prstGeom>
          <a:blipFill dpi="0" rotWithShape="1">
            <a:blip r:embed="rId17"/>
            <a:srcRect/>
            <a:stretch>
              <a:fillRect/>
            </a:stretch>
          </a:blip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A6D56D-823B-9E4F-B995-3245C23629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000" y="6141930"/>
            <a:ext cx="539584" cy="53606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6"/>
                </a:solidFill>
              </a:defRPr>
            </a:lvl1pPr>
          </a:lstStyle>
          <a:p>
            <a:fld id="{05AD7B4A-18A6-AF4F-A22E-139A342BB3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126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  <p:sldLayoutId id="2147483693" r:id="rId3"/>
    <p:sldLayoutId id="2147483650" r:id="rId4"/>
    <p:sldLayoutId id="2147483652" r:id="rId5"/>
    <p:sldLayoutId id="2147483690" r:id="rId6"/>
    <p:sldLayoutId id="2147483691" r:id="rId7"/>
    <p:sldLayoutId id="2147483662" r:id="rId8"/>
    <p:sldLayoutId id="2147483677" r:id="rId9"/>
    <p:sldLayoutId id="2147483687" r:id="rId10"/>
    <p:sldLayoutId id="2147483684" r:id="rId11"/>
    <p:sldLayoutId id="2147483685" r:id="rId12"/>
    <p:sldLayoutId id="2147483686" r:id="rId13"/>
    <p:sldLayoutId id="2147483654" r:id="rId14"/>
    <p:sldLayoutId id="2147483721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1200"/>
        </a:spcBef>
        <a:buClr>
          <a:schemeClr val="accent1"/>
        </a:buClr>
        <a:buFont typeface="System Font Regular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05" userDrawn="1">
          <p15:clr>
            <a:srgbClr val="F26B43"/>
          </p15:clr>
        </p15:guide>
        <p15:guide id="2" pos="7442" userDrawn="1">
          <p15:clr>
            <a:srgbClr val="F26B43"/>
          </p15:clr>
        </p15:guide>
        <p15:guide id="3" pos="218" userDrawn="1">
          <p15:clr>
            <a:srgbClr val="F26B43"/>
          </p15:clr>
        </p15:guide>
        <p15:guide id="4" orient="horz" pos="676" userDrawn="1">
          <p15:clr>
            <a:srgbClr val="F26B43"/>
          </p15:clr>
        </p15:guide>
        <p15:guide id="5" pos="3833" userDrawn="1">
          <p15:clr>
            <a:srgbClr val="F26B43"/>
          </p15:clr>
        </p15:guide>
        <p15:guide id="6" orient="horz" pos="3860" userDrawn="1">
          <p15:clr>
            <a:srgbClr val="F26B43"/>
          </p15:clr>
        </p15:guide>
        <p15:guide id="7" orient="horz" pos="374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6AE0CE-C20A-654D-A555-57C09CED0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360000"/>
            <a:ext cx="11453941" cy="36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Slide title (keep it shor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572CFA-87A2-E548-B799-EAD535221C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079999"/>
            <a:ext cx="11453941" cy="48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28600" lvl="0" indent="-228600"/>
            <a:r>
              <a:rPr lang="en-US" dirty="0"/>
              <a:t>Click to edit text</a:t>
            </a:r>
          </a:p>
          <a:p>
            <a:pPr marL="685800" lvl="1" indent="-228600"/>
            <a:r>
              <a:rPr lang="en-US" dirty="0"/>
              <a:t>Second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650627-9C71-1A4C-8CDC-0EAE1BE164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000" y="6138000"/>
            <a:ext cx="540000" cy="54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5"/>
                </a:solidFill>
              </a:defRPr>
            </a:lvl1pPr>
          </a:lstStyle>
          <a:p>
            <a:fld id="{AB29309D-5D30-A64E-94AB-C72A3FEA9BDE}" type="slidenum">
              <a:rPr lang="en-US" smtClean="0"/>
              <a:pPr/>
              <a:t>‹#›</a:t>
            </a:fld>
            <a:r>
              <a:rPr lang="en-US" dirty="0"/>
              <a:t> 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AF3B40E2-167F-2849-8786-A4D9E4230E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27140" y="6138000"/>
            <a:ext cx="586800" cy="540000"/>
          </a:xfrm>
          <a:prstGeom prst="rect">
            <a:avLst/>
          </a:prstGeom>
          <a:blipFill>
            <a:blip r:embed="rId30"/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318362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4" r:id="rId1"/>
    <p:sldLayoutId id="2147483724" r:id="rId2"/>
    <p:sldLayoutId id="2147483725" r:id="rId3"/>
    <p:sldLayoutId id="214748369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05" r:id="rId14"/>
    <p:sldLayoutId id="2147483706" r:id="rId15"/>
    <p:sldLayoutId id="2147483716" r:id="rId16"/>
    <p:sldLayoutId id="2147483717" r:id="rId17"/>
    <p:sldLayoutId id="2147483692" r:id="rId18"/>
    <p:sldLayoutId id="2147483714" r:id="rId19"/>
    <p:sldLayoutId id="2147483723" r:id="rId20"/>
    <p:sldLayoutId id="2147483679" r:id="rId21"/>
    <p:sldLayoutId id="2147483681" r:id="rId22"/>
    <p:sldLayoutId id="2147483680" r:id="rId23"/>
    <p:sldLayoutId id="2147483683" r:id="rId24"/>
    <p:sldLayoutId id="2147483682" r:id="rId25"/>
    <p:sldLayoutId id="2147483720" r:id="rId26"/>
    <p:sldLayoutId id="2147483715" r:id="rId27"/>
    <p:sldLayoutId id="2147483722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05" userDrawn="1">
          <p15:clr>
            <a:srgbClr val="F26B43"/>
          </p15:clr>
        </p15:guide>
        <p15:guide id="2" pos="7448" userDrawn="1">
          <p15:clr>
            <a:srgbClr val="F26B43"/>
          </p15:clr>
        </p15:guide>
        <p15:guide id="3" pos="225" userDrawn="1">
          <p15:clr>
            <a:srgbClr val="F26B43"/>
          </p15:clr>
        </p15:guide>
        <p15:guide id="4" orient="horz" pos="676">
          <p15:clr>
            <a:srgbClr val="F26B43"/>
          </p15:clr>
        </p15:guide>
        <p15:guide id="5" pos="3833">
          <p15:clr>
            <a:srgbClr val="F26B43"/>
          </p15:clr>
        </p15:guide>
        <p15:guide id="6" orient="horz" pos="3860" userDrawn="1">
          <p15:clr>
            <a:srgbClr val="F26B43"/>
          </p15:clr>
        </p15:guide>
        <p15:guide id="7" orient="horz" pos="374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180017-F941-4A9C-966F-8610D0D810B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3" name="TextBox 4">
            <a:extLst>
              <a:ext uri="{FF2B5EF4-FFF2-40B4-BE49-F238E27FC236}">
                <a16:creationId xmlns:a16="http://schemas.microsoft.com/office/drawing/2014/main" id="{ECA7EEC2-C624-4A35-8C05-1E9285B483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5780" y="3306739"/>
            <a:ext cx="548640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marL="171450" indent="-171450" fontAlgn="ctr">
              <a:buFont typeface="Arial" charset="0"/>
              <a:buChar char="•"/>
              <a:defRPr sz="1100">
                <a:solidFill>
                  <a:srgbClr val="000000"/>
                </a:solidFill>
                <a:latin typeface="Calibri" pitchFamily="34" charset="0"/>
              </a:defRPr>
            </a:lvl1pPr>
          </a:lstStyle>
          <a:p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As-Is Process Analysis; To-Be Process Design, Process Improvement, Re-design and standardization</a:t>
            </a:r>
          </a:p>
          <a:p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Apply EA (enterprise architecture) concepts to drive different modeling projects/requirements.</a:t>
            </a:r>
          </a:p>
          <a:p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Process discovery and analysis via Process mining for the identified business cases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BA8826B-9629-43BC-B4D7-3DB28CF48F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8427" y="1622126"/>
            <a:ext cx="5486400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An IT professional with an experience of 1.5+ years as a Business Process Analyst , Process Designer, Process Mining and ARIS Application Architect.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Calibri" panose="020F0502020204030204" pitchFamily="34" charset="0"/>
              </a:rPr>
              <a:t>Data Enthusiast! I like to turn data into insights.</a:t>
            </a:r>
            <a:endParaRPr lang="en-US" sz="12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Calibri" panose="020F0502020204030204" pitchFamily="34" charset="0"/>
              </a:rPr>
              <a:t>Specialized in creating Dashboards using Power BI , Excel and Python. 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Experience working across different domains like Banking, Insurance, Telecommunication etc.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12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12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</a:p>
        </p:txBody>
      </p:sp>
      <p:sp>
        <p:nvSpPr>
          <p:cNvPr id="25" name="Rectangle 16">
            <a:extLst>
              <a:ext uri="{FF2B5EF4-FFF2-40B4-BE49-F238E27FC236}">
                <a16:creationId xmlns:a16="http://schemas.microsoft.com/office/drawing/2014/main" id="{76FF9A04-2B8E-4EC1-BBE2-FCCA726C426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45141" y="141740"/>
            <a:ext cx="5486400" cy="2743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none" lIns="90000" tIns="46800" rIns="90000" bIns="46800" anchor="ctr"/>
          <a:lstStyle/>
          <a:p>
            <a:pPr eaLnBrk="0" hangingPunct="0">
              <a:spcBef>
                <a:spcPct val="40000"/>
              </a:spcBef>
              <a:tabLst>
                <a:tab pos="6464057" algn="r"/>
              </a:tabLst>
            </a:pPr>
            <a:r>
              <a:rPr lang="en-US" altLang="en-US" sz="1200" b="1" dirty="0">
                <a:solidFill>
                  <a:srgbClr val="FFFFFF"/>
                </a:solidFill>
                <a:latin typeface="Calibri" pitchFamily="34" charset="0"/>
              </a:rPr>
              <a:t>Professional Experienc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5024485-9FF2-4E8C-8AE6-89C1C18B14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45141" y="416060"/>
            <a:ext cx="5486400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0"/>
              </a:spcAft>
            </a:pPr>
            <a:r>
              <a:rPr lang="en-US" sz="1400" b="1" u="sng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sistent Systems – Business Process Analyst</a:t>
            </a:r>
          </a:p>
          <a:p>
            <a:r>
              <a:rPr lang="en-US" sz="1400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ne, India			(June 2022- Present)</a:t>
            </a:r>
          </a:p>
          <a:p>
            <a:pPr>
              <a:spcAft>
                <a:spcPts val="0"/>
              </a:spcAft>
            </a:pPr>
            <a:endParaRPr lang="en-US" sz="1100" b="1" u="sng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US" sz="1200" b="1" u="sng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siness Process Design Experience:</a:t>
            </a:r>
            <a:endParaRPr lang="en-IN" sz="12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lvl="0" indent="-171450"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ign process model for business processes , IT Architecture, Organization Chart ETC in ARIS. </a:t>
            </a:r>
          </a:p>
          <a:p>
            <a:pPr lvl="0">
              <a:spcAft>
                <a:spcPts val="0"/>
              </a:spcAft>
            </a:pPr>
            <a:r>
              <a:rPr lang="en-US" sz="1200" b="1" u="sng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IN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US" sz="1200" b="1" u="sng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cess Mining/Analysis Experience:</a:t>
            </a:r>
            <a:endParaRPr lang="en-IN" sz="12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lvl="0" indent="-171450"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orked on Data generation, Data Transformation and Data Modeling to enable Process mining.</a:t>
            </a:r>
          </a:p>
          <a:p>
            <a:pPr marL="171450" indent="-171450"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in point identification, Process optimization, Benefits identification, creating to-be and as-is documentation, Performance tracking and analysis using ARIS Process mining.</a:t>
            </a:r>
          </a:p>
          <a:p>
            <a:pPr marL="171450" indent="-171450"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t also helps in creating plans and estimates to realize the identified improvements.</a:t>
            </a:r>
            <a:endParaRPr lang="en-IN" sz="1200" dirty="0">
              <a:solidFill>
                <a:srgbClr val="000000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200" b="1" u="sng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cess Simulation Experience:</a:t>
            </a:r>
            <a:endParaRPr lang="en-IN" sz="12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effectLst/>
                <a:latin typeface="Calibri" panose="020F0502020204030204" pitchFamily="34" charset="0"/>
              </a:rPr>
              <a:t>Simulated </a:t>
            </a:r>
            <a:r>
              <a:rPr lang="en-US" sz="1200" dirty="0">
                <a:latin typeface="Calibri" panose="020F0502020204030204" pitchFamily="34" charset="0"/>
              </a:rPr>
              <a:t>end-to-end p</a:t>
            </a:r>
            <a:r>
              <a:rPr lang="en-US" sz="1200" dirty="0">
                <a:effectLst/>
                <a:latin typeface="Calibri" panose="020F0502020204030204" pitchFamily="34" charset="0"/>
              </a:rPr>
              <a:t>rocess</a:t>
            </a:r>
            <a:r>
              <a:rPr lang="en-US" sz="1200" dirty="0">
                <a:latin typeface="Calibri" panose="020F0502020204030204" pitchFamily="34" charset="0"/>
              </a:rPr>
              <a:t>, to identify Process throughput times, Dynamic wait times (bottlenecks) and Organizational center utilization and cost rates.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200" b="1" u="sng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wer BI Experienc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reated interactive Dashboards using Power BI as per client's requirement to showcase various key important metrics.</a:t>
            </a:r>
          </a:p>
          <a:p>
            <a:endParaRPr lang="en-IN" sz="11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</a:pPr>
            <a:endParaRPr lang="en-IN" sz="1200" dirty="0">
              <a:solidFill>
                <a:srgbClr val="000000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Rectangle 5">
            <a:extLst>
              <a:ext uri="{FF2B5EF4-FFF2-40B4-BE49-F238E27FC236}">
                <a16:creationId xmlns:a16="http://schemas.microsoft.com/office/drawing/2014/main" id="{5D32C542-2006-4467-9E21-EB1B1E8972D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5780" y="4487843"/>
            <a:ext cx="5486400" cy="2743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none" lIns="90000" tIns="46800" rIns="90000" bIns="46800" anchor="ctr"/>
          <a:lstStyle/>
          <a:p>
            <a:pPr eaLnBrk="0" hangingPunct="0">
              <a:spcBef>
                <a:spcPct val="40000"/>
              </a:spcBef>
              <a:tabLst>
                <a:tab pos="6464057" algn="r"/>
              </a:tabLst>
            </a:pPr>
            <a:r>
              <a:rPr lang="en-US" altLang="en-US" sz="1200" b="1" dirty="0">
                <a:solidFill>
                  <a:srgbClr val="FFFFFF"/>
                </a:solidFill>
                <a:latin typeface="Calibri" pitchFamily="34" charset="0"/>
              </a:rPr>
              <a:t>Skills</a:t>
            </a:r>
          </a:p>
        </p:txBody>
      </p:sp>
      <p:sp>
        <p:nvSpPr>
          <p:cNvPr id="28" name="Rectangle 2">
            <a:extLst>
              <a:ext uri="{FF2B5EF4-FFF2-40B4-BE49-F238E27FC236}">
                <a16:creationId xmlns:a16="http://schemas.microsoft.com/office/drawing/2014/main" id="{2BE647CB-2013-48B2-BDD4-8F2BFAA224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441" y="4820375"/>
            <a:ext cx="54864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171444" indent="-171444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itchFamily="34" charset="0"/>
              </a:rPr>
              <a:t>Languages :  SQL, Java, Python(for Data Analysis) </a:t>
            </a:r>
          </a:p>
          <a:p>
            <a:pPr marL="171444" indent="-171444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itchFamily="34" charset="0"/>
              </a:rPr>
              <a:t>Analytical Platforms : Power BI, Tableau, Excel</a:t>
            </a:r>
          </a:p>
          <a:p>
            <a:pPr marL="171444" indent="-171444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itchFamily="34" charset="0"/>
              </a:rPr>
              <a:t>ARIS : Process Analysis, Process Mining, Architect/Designer ,Simulation</a:t>
            </a:r>
          </a:p>
          <a:p>
            <a:pPr marL="171444" indent="-171444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itchFamily="34" charset="0"/>
              </a:rPr>
              <a:t>Platforms: Cloud</a:t>
            </a:r>
          </a:p>
        </p:txBody>
      </p:sp>
      <p:sp>
        <p:nvSpPr>
          <p:cNvPr id="29" name="Rectangle 7">
            <a:extLst>
              <a:ext uri="{FF2B5EF4-FFF2-40B4-BE49-F238E27FC236}">
                <a16:creationId xmlns:a16="http://schemas.microsoft.com/office/drawing/2014/main" id="{8B7671FB-C017-42A2-AAF9-8317D33D8777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445141" y="4625003"/>
            <a:ext cx="5486400" cy="27432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eaLnBrk="0" hangingPunct="0">
              <a:spcBef>
                <a:spcPct val="40000"/>
              </a:spcBef>
              <a:tabLst>
                <a:tab pos="6464057" algn="r"/>
              </a:tabLst>
            </a:pPr>
            <a:r>
              <a:rPr lang="en-US" altLang="en-US" sz="1200" b="1" dirty="0">
                <a:solidFill>
                  <a:srgbClr val="FFFFFF"/>
                </a:solidFill>
                <a:latin typeface="Calibri" pitchFamily="34" charset="0"/>
              </a:rPr>
              <a:t>Education and Certifications</a:t>
            </a:r>
          </a:p>
        </p:txBody>
      </p:sp>
      <p:sp>
        <p:nvSpPr>
          <p:cNvPr id="30" name="Rectangle 1">
            <a:extLst>
              <a:ext uri="{FF2B5EF4-FFF2-40B4-BE49-F238E27FC236}">
                <a16:creationId xmlns:a16="http://schemas.microsoft.com/office/drawing/2014/main" id="{6CF63356-0333-4773-9B9B-42AB3FA318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7802" y="4958913"/>
            <a:ext cx="5486400" cy="2277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E, Computer Engineering, Savitribai Phule Pune University</a:t>
            </a:r>
            <a:endParaRPr lang="en-US" sz="12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71450" indent="-171450"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Certifications: </a:t>
            </a:r>
          </a:p>
          <a:p>
            <a:pPr marL="628650" lvl="1" indent="-171450">
              <a:buFont typeface="Wingdings" panose="05000000000000000000" pitchFamily="2" charset="2"/>
              <a:buChar char="Ø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Software AG Certified ARIS Process Mining Professional </a:t>
            </a:r>
          </a:p>
          <a:p>
            <a:pPr marL="628650" lvl="1" indent="-171450">
              <a:buFont typeface="Wingdings" panose="05000000000000000000" pitchFamily="2" charset="2"/>
              <a:buChar char="Ø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Microsoft Certified Azure Fundamentals</a:t>
            </a:r>
          </a:p>
          <a:p>
            <a:pPr marL="628650" lvl="1" indent="-171450">
              <a:buFont typeface="Wingdings" panose="05000000000000000000" pitchFamily="2" charset="2"/>
              <a:buChar char="Ø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Udemy :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Python for Data Analysis and Visualization ,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Complete Data Analyst 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Business Analysis Fundamentals , SQL 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Process Improvement </a:t>
            </a:r>
          </a:p>
          <a:p>
            <a:pPr marL="628650" lvl="1" indent="-171450">
              <a:buFont typeface="Wingdings" panose="05000000000000000000" pitchFamily="2" charset="2"/>
              <a:buChar char="Ø"/>
            </a:pPr>
            <a:endParaRPr lang="en-US" sz="12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628650" lvl="1" indent="-171450">
              <a:buFont typeface="Wingdings" panose="05000000000000000000" pitchFamily="2" charset="2"/>
              <a:buChar char="Ø"/>
            </a:pPr>
            <a:endParaRPr lang="en-US" sz="11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en-US" sz="11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1" name="Rectangle 7">
            <a:extLst>
              <a:ext uri="{FF2B5EF4-FFF2-40B4-BE49-F238E27FC236}">
                <a16:creationId xmlns:a16="http://schemas.microsoft.com/office/drawing/2014/main" id="{ABB2F1B1-9C98-4795-B3BE-1E83C064815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8427" y="2919182"/>
            <a:ext cx="5486400" cy="27432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eaLnBrk="0" hangingPunct="0">
              <a:spcBef>
                <a:spcPct val="40000"/>
              </a:spcBef>
              <a:tabLst>
                <a:tab pos="6464057" algn="r"/>
              </a:tabLst>
            </a:pPr>
            <a:r>
              <a:rPr lang="en-US" altLang="en-US" sz="1200" b="1" dirty="0">
                <a:solidFill>
                  <a:srgbClr val="FFFFFF"/>
                </a:solidFill>
                <a:latin typeface="Calibri" pitchFamily="34" charset="0"/>
              </a:rPr>
              <a:t>Relevant Experience</a:t>
            </a:r>
          </a:p>
        </p:txBody>
      </p:sp>
      <p:sp>
        <p:nvSpPr>
          <p:cNvPr id="32" name="Rectangle 7">
            <a:extLst>
              <a:ext uri="{FF2B5EF4-FFF2-40B4-BE49-F238E27FC236}">
                <a16:creationId xmlns:a16="http://schemas.microsoft.com/office/drawing/2014/main" id="{C62E6C60-19DE-4AC8-BCC9-0C7E6D1F8578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8427" y="1286426"/>
            <a:ext cx="5486400" cy="27432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eaLnBrk="0" hangingPunct="0">
              <a:spcBef>
                <a:spcPct val="40000"/>
              </a:spcBef>
              <a:tabLst>
                <a:tab pos="6464057" algn="r"/>
              </a:tabLst>
            </a:pPr>
            <a:r>
              <a:rPr lang="en-US" altLang="en-US" sz="1200" b="1" dirty="0">
                <a:solidFill>
                  <a:srgbClr val="FFFFFF"/>
                </a:solidFill>
                <a:latin typeface="Calibri" pitchFamily="34" charset="0"/>
              </a:rPr>
              <a:t>Professional Background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3F14C4FE-E103-4462-AB08-12BF14B6B9C2}"/>
              </a:ext>
            </a:extLst>
          </p:cNvPr>
          <p:cNvSpPr txBox="1">
            <a:spLocks/>
          </p:cNvSpPr>
          <p:nvPr/>
        </p:nvSpPr>
        <p:spPr>
          <a:xfrm>
            <a:off x="255768" y="141740"/>
            <a:ext cx="4091095" cy="1419006"/>
          </a:xfrm>
          <a:prstGeom prst="rect">
            <a:avLst/>
          </a:prstGeom>
          <a:ln w="9525"/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en-US" sz="2400" b="1" dirty="0"/>
              <a:t>Hrishikesh Bunge</a:t>
            </a:r>
            <a:endParaRPr lang="en-US" altLang="en-US" sz="2400" dirty="0"/>
          </a:p>
          <a:p>
            <a:pPr algn="l"/>
            <a:r>
              <a:rPr lang="en-US" altLang="en-US" sz="1800" dirty="0"/>
              <a:t>(</a:t>
            </a:r>
            <a:r>
              <a:rPr lang="en-US" altLang="en-US" sz="1800" b="1" dirty="0"/>
              <a:t>Process Analyst</a:t>
            </a:r>
            <a:r>
              <a:rPr lang="en-US" altLang="en-US" sz="1800" dirty="0"/>
              <a:t>)</a:t>
            </a:r>
          </a:p>
          <a:p>
            <a:pPr algn="l"/>
            <a:endParaRPr lang="en-US" altLang="en-US" sz="1800" dirty="0"/>
          </a:p>
        </p:txBody>
      </p:sp>
    </p:spTree>
    <p:extLst>
      <p:ext uri="{BB962C8B-B14F-4D97-AF65-F5344CB8AC3E}">
        <p14:creationId xmlns:p14="http://schemas.microsoft.com/office/powerpoint/2010/main" val="3977130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  <p:tag name="THINKCELLSHAPEDONOTDELETE" val="pMLdx0X.jSk68GEw1qSUX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  <p:tag name="THINKCELLSHAPEDONOTDELETE" val="pJCzDRYiQnk..XJ5zdCr7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heme/theme1.xml><?xml version="1.0" encoding="utf-8"?>
<a:theme xmlns:a="http://schemas.openxmlformats.org/drawingml/2006/main" name="Master">
  <a:themeElements>
    <a:clrScheme name="Custom 1">
      <a:dk1>
        <a:srgbClr val="201D28"/>
      </a:dk1>
      <a:lt1>
        <a:srgbClr val="EEEFEE"/>
      </a:lt1>
      <a:dk2>
        <a:srgbClr val="4C4D4C"/>
      </a:dk2>
      <a:lt2>
        <a:srgbClr val="D3D1D4"/>
      </a:lt2>
      <a:accent1>
        <a:srgbClr val="FD5F08"/>
      </a:accent1>
      <a:accent2>
        <a:srgbClr val="FC7E39"/>
      </a:accent2>
      <a:accent3>
        <a:srgbClr val="FDBE9C"/>
      </a:accent3>
      <a:accent4>
        <a:srgbClr val="211D28"/>
      </a:accent4>
      <a:accent5>
        <a:srgbClr val="4E4A53"/>
      </a:accent5>
      <a:accent6>
        <a:srgbClr val="7A777E"/>
      </a:accent6>
      <a:hlink>
        <a:srgbClr val="FD5F08"/>
      </a:hlink>
      <a:folHlink>
        <a:srgbClr val="96380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aster Dark">
  <a:themeElements>
    <a:clrScheme name="Custom 1">
      <a:dk1>
        <a:srgbClr val="211D28"/>
      </a:dk1>
      <a:lt1>
        <a:srgbClr val="EEEFEE"/>
      </a:lt1>
      <a:dk2>
        <a:srgbClr val="4C4D4C"/>
      </a:dk2>
      <a:lt2>
        <a:srgbClr val="D3D1D4"/>
      </a:lt2>
      <a:accent1>
        <a:srgbClr val="FD5F08"/>
      </a:accent1>
      <a:accent2>
        <a:srgbClr val="FC7E39"/>
      </a:accent2>
      <a:accent3>
        <a:srgbClr val="FDBE9C"/>
      </a:accent3>
      <a:accent4>
        <a:srgbClr val="211D28"/>
      </a:accent4>
      <a:accent5>
        <a:srgbClr val="4E4A53"/>
      </a:accent5>
      <a:accent6>
        <a:srgbClr val="7A777E"/>
      </a:accent6>
      <a:hlink>
        <a:srgbClr val="FD5F08"/>
      </a:hlink>
      <a:folHlink>
        <a:srgbClr val="96380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1f4beacd-b7aa-49b2-aaa1-b8525cb257e0}" enabled="0" method="" siteId="{1f4beacd-b7aa-49b2-aaa1-b8525cb257e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8</Words>
  <Application>Microsoft Office PowerPoint</Application>
  <PresentationFormat>Widescreen</PresentationFormat>
  <Paragraphs>48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Symbol</vt:lpstr>
      <vt:lpstr>System Font Regular</vt:lpstr>
      <vt:lpstr>Times New Roman</vt:lpstr>
      <vt:lpstr>Wingdings</vt:lpstr>
      <vt:lpstr>Master</vt:lpstr>
      <vt:lpstr>Master Dar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5-15T05:54:27Z</dcterms:created>
  <dcterms:modified xsi:type="dcterms:W3CDTF">2023-10-30T10:12:07Z</dcterms:modified>
</cp:coreProperties>
</file>